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65" r:id="rId4"/>
    <p:sldId id="266" r:id="rId5"/>
    <p:sldId id="272" r:id="rId6"/>
    <p:sldId id="271" r:id="rId7"/>
    <p:sldId id="270" r:id="rId8"/>
    <p:sldId id="269" r:id="rId9"/>
    <p:sldId id="268" r:id="rId10"/>
    <p:sldId id="267" r:id="rId11"/>
    <p:sldId id="276" r:id="rId12"/>
    <p:sldId id="275" r:id="rId13"/>
    <p:sldId id="274" r:id="rId14"/>
    <p:sldId id="273" r:id="rId15"/>
    <p:sldId id="277" r:id="rId16"/>
    <p:sldId id="280" r:id="rId17"/>
    <p:sldId id="279" r:id="rId18"/>
    <p:sldId id="278" r:id="rId19"/>
    <p:sldId id="282" r:id="rId20"/>
    <p:sldId id="264" r:id="rId21"/>
  </p:sldIdLst>
  <p:sldSz cx="9144000" cy="6858000" type="screen4x3"/>
  <p:notesSz cx="6858000" cy="9144000"/>
  <p:defaultTextStyle>
    <a:defPPr>
      <a:defRPr lang="hu-H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FF66"/>
    <a:srgbClr val="FF0000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047" autoAdjust="0"/>
    <p:restoredTop sz="94660"/>
  </p:normalViewPr>
  <p:slideViewPr>
    <p:cSldViewPr>
      <p:cViewPr varScale="1">
        <p:scale>
          <a:sx n="98" d="100"/>
          <a:sy n="98" d="100"/>
        </p:scale>
        <p:origin x="-786" y="-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ím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Alcím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hu-HU" smtClean="0"/>
              <a:t>Alcím mintájának szerkesztése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B14FFB9-FEBD-4E4A-871E-8CD0E544DCF9}" type="slidenum">
              <a:rPr lang="hu-HU"/>
              <a:pPr/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Cím és függőlege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A6CEA97-4039-42EA-8572-2E28A3762C27}" type="slidenum">
              <a:rPr lang="hu-HU"/>
              <a:pPr/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Függőleges cím és szöv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üggőleges cím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Függőleges szöveg helye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51E8815-EA96-4C7F-8AB6-18373FEB322D}" type="slidenum">
              <a:rPr lang="hu-HU"/>
              <a:pPr/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artalom helye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endParaRPr lang="hu-HU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fld id="{E5F30C33-79FB-4F45-908A-6B9583052346}" type="slidenum">
              <a:rPr lang="hu-HU"/>
              <a:pPr/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1EAD128C-37CE-4FB1-82ED-5AD6A1AF9C1A}" type="slidenum">
              <a:rPr lang="hu-HU"/>
              <a:pPr/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zakaszfejlé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Dátum hely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hu-HU"/>
          </a:p>
        </p:txBody>
      </p:sp>
      <p:sp>
        <p:nvSpPr>
          <p:cNvPr id="5" name="Élőláb hely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hu-HU"/>
          </a:p>
        </p:txBody>
      </p:sp>
      <p:sp>
        <p:nvSpPr>
          <p:cNvPr id="6" name="Dia számának hely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4CD5BDD-70F0-4A49-B7AF-D84BBF3E20A9}" type="slidenum">
              <a:rPr lang="hu-HU"/>
              <a:pPr/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tartalomrés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310A70D-5FA6-4C1B-BDF7-ADBF61464611}" type="slidenum">
              <a:rPr lang="hu-HU"/>
              <a:pPr/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Összehasonlítá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Szöveg hely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4" name="Tartalom helye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5" name="Szöveg hely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6" name="Tartalom helye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7" name="Dátum helye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hu-HU"/>
          </a:p>
        </p:txBody>
      </p:sp>
      <p:sp>
        <p:nvSpPr>
          <p:cNvPr id="8" name="Élőláb helye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hu-HU"/>
          </a:p>
        </p:txBody>
      </p:sp>
      <p:sp>
        <p:nvSpPr>
          <p:cNvPr id="9" name="Dia számának hely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637298D-963D-40DA-982B-D053A09EA3AB}" type="slidenum">
              <a:rPr lang="hu-HU"/>
              <a:pPr/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sak cí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Dátum helye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hu-HU"/>
          </a:p>
        </p:txBody>
      </p:sp>
      <p:sp>
        <p:nvSpPr>
          <p:cNvPr id="4" name="Élőláb helye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hu-HU"/>
          </a:p>
        </p:txBody>
      </p:sp>
      <p:sp>
        <p:nvSpPr>
          <p:cNvPr id="5" name="Dia számának hely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7EA8807-91BF-4610-AE44-B5C2CA01974E}" type="slidenum">
              <a:rPr lang="hu-HU"/>
              <a:pPr/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Ü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átum helye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hu-HU"/>
          </a:p>
        </p:txBody>
      </p:sp>
      <p:sp>
        <p:nvSpPr>
          <p:cNvPr id="3" name="Élőláb helye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hu-HU"/>
          </a:p>
        </p:txBody>
      </p:sp>
      <p:sp>
        <p:nvSpPr>
          <p:cNvPr id="4" name="Dia számának hely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2585812-8F67-41EE-8025-43167523FE13}" type="slidenum">
              <a:rPr lang="hu-HU"/>
              <a:pPr/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Tartalomrész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Tartalom helye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  <a:endParaRPr lang="hu-HU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4AA5255-F074-4C5C-8C2C-56806A8418B3}" type="slidenum">
              <a:rPr lang="hu-HU"/>
              <a:pPr/>
              <a:t>‹#›</a:t>
            </a:fld>
            <a:endParaRPr lang="hu-H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Kép képaláírás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hu-HU" smtClean="0"/>
              <a:t>Mintacím szerkesztése</a:t>
            </a:r>
            <a:endParaRPr lang="hu-HU"/>
          </a:p>
        </p:txBody>
      </p:sp>
      <p:sp>
        <p:nvSpPr>
          <p:cNvPr id="3" name="Kép hely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u-HU"/>
          </a:p>
        </p:txBody>
      </p:sp>
      <p:sp>
        <p:nvSpPr>
          <p:cNvPr id="4" name="Szöveg hely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hu-HU" smtClean="0"/>
              <a:t>Mintaszöveg szerkesztése</a:t>
            </a:r>
          </a:p>
        </p:txBody>
      </p:sp>
      <p:sp>
        <p:nvSpPr>
          <p:cNvPr id="5" name="Dátum helye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hu-HU"/>
          </a:p>
        </p:txBody>
      </p:sp>
      <p:sp>
        <p:nvSpPr>
          <p:cNvPr id="6" name="Élőláb helye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hu-HU"/>
          </a:p>
        </p:txBody>
      </p:sp>
      <p:sp>
        <p:nvSpPr>
          <p:cNvPr id="7" name="Dia számának hely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C5149EA-E4B3-4F5F-8E04-FB639407E139}" type="slidenum">
              <a:rPr lang="hu-HU"/>
              <a:pPr/>
              <a:t>‹#›</a:t>
            </a:fld>
            <a:endParaRPr lang="hu-H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hu-HU" smtClean="0"/>
              <a:t>Mintacím szerkesztés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u-HU" smtClean="0"/>
              <a:t>Mintaszöveg szerkesztése</a:t>
            </a:r>
          </a:p>
          <a:p>
            <a:pPr lvl="1"/>
            <a:r>
              <a:rPr lang="hu-HU" smtClean="0"/>
              <a:t>Második szint</a:t>
            </a:r>
          </a:p>
          <a:p>
            <a:pPr lvl="2"/>
            <a:r>
              <a:rPr lang="hu-HU" smtClean="0"/>
              <a:t>Harmadik szint</a:t>
            </a:r>
          </a:p>
          <a:p>
            <a:pPr lvl="3"/>
            <a:r>
              <a:rPr lang="hu-HU" smtClean="0"/>
              <a:t>Negyedik szint</a:t>
            </a:r>
          </a:p>
          <a:p>
            <a:pPr lvl="4"/>
            <a:r>
              <a:rPr lang="hu-HU" smtClean="0"/>
              <a:t>Ötödik szint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endParaRPr lang="hu-HU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endParaRPr lang="hu-HU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fld id="{C83785C7-F60D-4128-AC54-05F2EF596663}" type="slidenum">
              <a:rPr lang="hu-HU"/>
              <a:pPr/>
              <a:t>‹#›</a:t>
            </a:fld>
            <a:endParaRPr lang="hu-H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Line 4"/>
          <p:cNvSpPr>
            <a:spLocks noChangeShapeType="1"/>
          </p:cNvSpPr>
          <p:nvPr/>
        </p:nvSpPr>
        <p:spPr bwMode="auto">
          <a:xfrm>
            <a:off x="250825" y="1052513"/>
            <a:ext cx="864235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053" name="Text Box 5"/>
          <p:cNvSpPr txBox="1">
            <a:spLocks noChangeArrowheads="1"/>
          </p:cNvSpPr>
          <p:nvPr/>
        </p:nvSpPr>
        <p:spPr bwMode="auto">
          <a:xfrm>
            <a:off x="2124075" y="260350"/>
            <a:ext cx="4851400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/>
            <a:r>
              <a:rPr lang="hu-HU" b="1">
                <a:latin typeface="Tahoma" pitchFamily="34" charset="0"/>
              </a:rPr>
              <a:t>Magyar regionális Tudományos Társaság</a:t>
            </a:r>
          </a:p>
          <a:p>
            <a:pPr algn="ctr"/>
            <a:r>
              <a:rPr lang="hu-HU" b="1">
                <a:latin typeface="Tahoma" pitchFamily="34" charset="0"/>
              </a:rPr>
              <a:t>VIII. vándorgyűlése</a:t>
            </a:r>
          </a:p>
        </p:txBody>
      </p:sp>
      <p:sp>
        <p:nvSpPr>
          <p:cNvPr id="2054" name="WordArt 6"/>
          <p:cNvSpPr>
            <a:spLocks noChangeArrowheads="1" noChangeShapeType="1" noTextEdit="1"/>
          </p:cNvSpPr>
          <p:nvPr/>
        </p:nvSpPr>
        <p:spPr bwMode="auto">
          <a:xfrm>
            <a:off x="323850" y="3284538"/>
            <a:ext cx="8569325" cy="144145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hu-HU" sz="2800" b="1" kern="10">
                <a:ln w="9525">
                  <a:noFill/>
                  <a:round/>
                  <a:headEnd/>
                  <a:tailEnd/>
                </a:ln>
                <a:solidFill>
                  <a:srgbClr val="336699"/>
                </a:solidFill>
                <a:effectLst>
                  <a:outerShdw dist="45791" dir="2021404" algn="ctr" rotWithShape="0">
                    <a:srgbClr val="B2B2B2">
                      <a:alpha val="80000"/>
                    </a:srgbClr>
                  </a:outerShdw>
                </a:effectLst>
                <a:latin typeface="Tahoma"/>
                <a:ea typeface="Tahoma"/>
                <a:cs typeface="Tahoma"/>
              </a:rPr>
              <a:t>A szántóföldtől az asztalig terjedő</a:t>
            </a:r>
          </a:p>
          <a:p>
            <a:pPr algn="ctr"/>
            <a:r>
              <a:rPr lang="hu-HU" sz="2800" b="1" kern="10">
                <a:ln w="9525">
                  <a:noFill/>
                  <a:round/>
                  <a:headEnd/>
                  <a:tailEnd/>
                </a:ln>
                <a:solidFill>
                  <a:srgbClr val="336699"/>
                </a:solidFill>
                <a:effectLst>
                  <a:outerShdw dist="45791" dir="2021404" algn="ctr" rotWithShape="0">
                    <a:srgbClr val="B2B2B2">
                      <a:alpha val="80000"/>
                    </a:srgbClr>
                  </a:outerShdw>
                </a:effectLst>
                <a:latin typeface="Tahoma"/>
                <a:ea typeface="Tahoma"/>
                <a:cs typeface="Tahoma"/>
              </a:rPr>
              <a:t>terméklánc előállításának és értékesítésének lehetőségei</a:t>
            </a:r>
          </a:p>
          <a:p>
            <a:pPr algn="ctr"/>
            <a:r>
              <a:rPr lang="hu-HU" sz="2800" b="1" kern="10">
                <a:ln w="9525">
                  <a:noFill/>
                  <a:round/>
                  <a:headEnd/>
                  <a:tailEnd/>
                </a:ln>
                <a:solidFill>
                  <a:srgbClr val="336699"/>
                </a:solidFill>
                <a:effectLst>
                  <a:outerShdw dist="45791" dir="2021404" algn="ctr" rotWithShape="0">
                    <a:srgbClr val="B2B2B2">
                      <a:alpha val="80000"/>
                    </a:srgbClr>
                  </a:outerShdw>
                </a:effectLst>
                <a:latin typeface="Tahoma"/>
                <a:ea typeface="Tahoma"/>
                <a:cs typeface="Tahoma"/>
              </a:rPr>
              <a:t>a DE AGTC-ben</a:t>
            </a:r>
          </a:p>
        </p:txBody>
      </p:sp>
      <p:sp>
        <p:nvSpPr>
          <p:cNvPr id="2055" name="Text Box 7"/>
          <p:cNvSpPr txBox="1">
            <a:spLocks noChangeArrowheads="1"/>
          </p:cNvSpPr>
          <p:nvPr/>
        </p:nvSpPr>
        <p:spPr bwMode="auto">
          <a:xfrm>
            <a:off x="1919288" y="6021388"/>
            <a:ext cx="5434012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/>
            <a:r>
              <a:rPr lang="hu-HU">
                <a:latin typeface="Tahoma" pitchFamily="34" charset="0"/>
              </a:rPr>
              <a:t>Dr. Harsányi Endre</a:t>
            </a:r>
          </a:p>
          <a:p>
            <a:pPr algn="ctr"/>
            <a:r>
              <a:rPr lang="hu-HU">
                <a:latin typeface="Tahoma" pitchFamily="34" charset="0"/>
              </a:rPr>
              <a:t>DE AGTC Területfejlesztési Regionális Tudásközpont</a:t>
            </a:r>
          </a:p>
        </p:txBody>
      </p:sp>
      <p:sp>
        <p:nvSpPr>
          <p:cNvPr id="2056" name="WordArt 8"/>
          <p:cNvSpPr>
            <a:spLocks noChangeArrowheads="1" noChangeShapeType="1" noTextEdit="1"/>
          </p:cNvSpPr>
          <p:nvPr/>
        </p:nvSpPr>
        <p:spPr bwMode="auto">
          <a:xfrm>
            <a:off x="395288" y="2276475"/>
            <a:ext cx="8467725" cy="49530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hu-HU" sz="3200" b="1" kern="10">
                <a:ln w="9525">
                  <a:noFill/>
                  <a:round/>
                  <a:headEnd/>
                  <a:tailEnd/>
                </a:ln>
                <a:solidFill>
                  <a:srgbClr val="008000"/>
                </a:solidFill>
                <a:effectLst>
                  <a:outerShdw dist="45791" dir="2021404" algn="ctr" rotWithShape="0">
                    <a:srgbClr val="B2B2B2">
                      <a:alpha val="80000"/>
                    </a:srgbClr>
                  </a:outerShdw>
                </a:effectLst>
                <a:latin typeface="Tahoma"/>
                <a:ea typeface="Tahoma"/>
                <a:cs typeface="Tahoma"/>
              </a:rPr>
              <a:t>Vállalkozásfejlesztési tevékenység kidolgozása: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Line 2"/>
          <p:cNvSpPr>
            <a:spLocks noChangeShapeType="1"/>
          </p:cNvSpPr>
          <p:nvPr/>
        </p:nvSpPr>
        <p:spPr bwMode="auto">
          <a:xfrm>
            <a:off x="250825" y="981075"/>
            <a:ext cx="864235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6148" name="Titel 2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250825" y="115888"/>
            <a:ext cx="8642350" cy="811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39688" rIns="0" bIns="39688" anchor="b"/>
          <a:lstStyle/>
          <a:p>
            <a:pPr algn="just"/>
            <a:r>
              <a:rPr lang="hu-HU" b="1">
                <a:solidFill>
                  <a:schemeClr val="tx2"/>
                </a:solidFill>
                <a:latin typeface="Tahoma" pitchFamily="34" charset="0"/>
              </a:rPr>
              <a:t>Az új megközelítés szerint </a:t>
            </a:r>
            <a:r>
              <a:rPr lang="hu-HU" b="1">
                <a:solidFill>
                  <a:srgbClr val="FF0000"/>
                </a:solidFill>
                <a:latin typeface="Tahoma" pitchFamily="34" charset="0"/>
              </a:rPr>
              <a:t>az egyetem 4 dimenzióban tudja támogatni a régió fejlődését</a:t>
            </a:r>
            <a:endParaRPr lang="en-US" b="1">
              <a:solidFill>
                <a:srgbClr val="FF0000"/>
              </a:solidFill>
              <a:latin typeface="Tahoma" pitchFamily="34" charset="0"/>
            </a:endParaRPr>
          </a:p>
        </p:txBody>
      </p:sp>
      <p:pic>
        <p:nvPicPr>
          <p:cNvPr id="6149" name="Picture 5" descr="2010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388" y="1412875"/>
            <a:ext cx="8816975" cy="436245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Line 2"/>
          <p:cNvSpPr>
            <a:spLocks noChangeShapeType="1"/>
          </p:cNvSpPr>
          <p:nvPr/>
        </p:nvSpPr>
        <p:spPr bwMode="auto">
          <a:xfrm>
            <a:off x="179388" y="908050"/>
            <a:ext cx="864235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2531" name="Text Box 3"/>
          <p:cNvSpPr txBox="1">
            <a:spLocks noChangeArrowheads="1"/>
          </p:cNvSpPr>
          <p:nvPr/>
        </p:nvSpPr>
        <p:spPr bwMode="auto">
          <a:xfrm>
            <a:off x="250825" y="188913"/>
            <a:ext cx="8642350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r>
              <a:rPr lang="hu-HU" b="1">
                <a:latin typeface="Tahoma" pitchFamily="34" charset="0"/>
              </a:rPr>
              <a:t>Az AGTC saját maga is végez vállalkozásfejlesztési tevékenységet, más vállalkozások felé pedig ösztönző, facilitáló szerepben lép fel</a:t>
            </a:r>
          </a:p>
        </p:txBody>
      </p:sp>
      <p:pic>
        <p:nvPicPr>
          <p:cNvPr id="22532" name="Picture 4" descr="201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388" y="1196975"/>
            <a:ext cx="8816975" cy="518795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Line 2"/>
          <p:cNvSpPr>
            <a:spLocks noChangeShapeType="1"/>
          </p:cNvSpPr>
          <p:nvPr/>
        </p:nvSpPr>
        <p:spPr bwMode="auto">
          <a:xfrm>
            <a:off x="250825" y="692150"/>
            <a:ext cx="864235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1507" name="Text Box 3"/>
          <p:cNvSpPr txBox="1">
            <a:spLocks noChangeArrowheads="1"/>
          </p:cNvSpPr>
          <p:nvPr/>
        </p:nvSpPr>
        <p:spPr bwMode="auto">
          <a:xfrm>
            <a:off x="250825" y="188913"/>
            <a:ext cx="8642350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r>
              <a:rPr lang="hu-HU" b="1">
                <a:latin typeface="Tahoma" pitchFamily="34" charset="0"/>
              </a:rPr>
              <a:t>A vállalkozásfejlesztés eszközei</a:t>
            </a:r>
          </a:p>
        </p:txBody>
      </p:sp>
      <p:pic>
        <p:nvPicPr>
          <p:cNvPr id="21508" name="Picture 4" descr="201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7950" y="1341438"/>
            <a:ext cx="8928100" cy="4395787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Line 2"/>
          <p:cNvSpPr>
            <a:spLocks noChangeShapeType="1"/>
          </p:cNvSpPr>
          <p:nvPr/>
        </p:nvSpPr>
        <p:spPr bwMode="auto">
          <a:xfrm>
            <a:off x="250825" y="1125538"/>
            <a:ext cx="864235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0483" name="Text Box 3"/>
          <p:cNvSpPr txBox="1">
            <a:spLocks noChangeArrowheads="1"/>
          </p:cNvSpPr>
          <p:nvPr/>
        </p:nvSpPr>
        <p:spPr bwMode="auto">
          <a:xfrm>
            <a:off x="250825" y="333375"/>
            <a:ext cx="8642350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r>
              <a:rPr lang="hu-HU" b="1">
                <a:latin typeface="Tahoma" pitchFamily="34" charset="0"/>
              </a:rPr>
              <a:t>A K+F eredmények sikeres hasznosításához a technológia-fejlesztés minden szakaszában megfelelő támogatást kell nyújtani</a:t>
            </a:r>
          </a:p>
        </p:txBody>
      </p:sp>
      <p:pic>
        <p:nvPicPr>
          <p:cNvPr id="20484" name="Picture 4" descr="201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388" y="1412875"/>
            <a:ext cx="8816975" cy="45466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Line 2"/>
          <p:cNvSpPr>
            <a:spLocks noChangeShapeType="1"/>
          </p:cNvSpPr>
          <p:nvPr/>
        </p:nvSpPr>
        <p:spPr bwMode="auto">
          <a:xfrm>
            <a:off x="250825" y="1125538"/>
            <a:ext cx="864235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19459" name="Text Box 3"/>
          <p:cNvSpPr txBox="1">
            <a:spLocks noChangeArrowheads="1"/>
          </p:cNvSpPr>
          <p:nvPr/>
        </p:nvSpPr>
        <p:spPr bwMode="auto">
          <a:xfrm>
            <a:off x="250825" y="333375"/>
            <a:ext cx="8642350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r>
              <a:rPr lang="hu-HU" b="1">
                <a:latin typeface="Tahoma" pitchFamily="34" charset="0"/>
              </a:rPr>
              <a:t>A TRET a kutatás szakasz előkészítési és hasznosítási fázisban tudja eredményesen támogatni a karokat, kutatóintézeteket</a:t>
            </a:r>
          </a:p>
        </p:txBody>
      </p:sp>
      <p:pic>
        <p:nvPicPr>
          <p:cNvPr id="19460" name="Picture 4" descr="201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1188" y="1412875"/>
            <a:ext cx="7705725" cy="512445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Line 2"/>
          <p:cNvSpPr>
            <a:spLocks noChangeShapeType="1"/>
          </p:cNvSpPr>
          <p:nvPr/>
        </p:nvSpPr>
        <p:spPr bwMode="auto">
          <a:xfrm>
            <a:off x="250825" y="1125538"/>
            <a:ext cx="864235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3555" name="Text Box 3"/>
          <p:cNvSpPr txBox="1">
            <a:spLocks noChangeArrowheads="1"/>
          </p:cNvSpPr>
          <p:nvPr/>
        </p:nvSpPr>
        <p:spPr bwMode="auto">
          <a:xfrm>
            <a:off x="250825" y="404813"/>
            <a:ext cx="8642350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r>
              <a:rPr lang="hu-HU" b="1">
                <a:latin typeface="Tahoma" pitchFamily="34" charset="0"/>
              </a:rPr>
              <a:t>A vállalkozásfejlesztés közvetlen célcsoportját kb. 350 észak-alföldi vállalat jelenti</a:t>
            </a:r>
          </a:p>
        </p:txBody>
      </p:sp>
      <p:pic>
        <p:nvPicPr>
          <p:cNvPr id="23557" name="Picture 5" descr="201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7950" y="1557338"/>
            <a:ext cx="8816975" cy="4662487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Line 2"/>
          <p:cNvSpPr>
            <a:spLocks noChangeShapeType="1"/>
          </p:cNvSpPr>
          <p:nvPr/>
        </p:nvSpPr>
        <p:spPr bwMode="auto">
          <a:xfrm>
            <a:off x="250825" y="1125538"/>
            <a:ext cx="864235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6627" name="Text Box 3"/>
          <p:cNvSpPr txBox="1">
            <a:spLocks noChangeArrowheads="1"/>
          </p:cNvSpPr>
          <p:nvPr/>
        </p:nvSpPr>
        <p:spPr bwMode="auto">
          <a:xfrm>
            <a:off x="250825" y="333375"/>
            <a:ext cx="8642350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r>
              <a:rPr lang="hu-HU" b="1">
                <a:latin typeface="Tahoma" pitchFamily="34" charset="0"/>
              </a:rPr>
              <a:t>A vállalkozási elképzelések három pilléren alapulnak, amelyek versenyképessé teszik az AGTC szolgáltatásait</a:t>
            </a:r>
          </a:p>
        </p:txBody>
      </p:sp>
      <p:pic>
        <p:nvPicPr>
          <p:cNvPr id="26628" name="Picture 4" descr="201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0825" y="1268413"/>
            <a:ext cx="8704263" cy="5095875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Line 2"/>
          <p:cNvSpPr>
            <a:spLocks noChangeShapeType="1"/>
          </p:cNvSpPr>
          <p:nvPr/>
        </p:nvSpPr>
        <p:spPr bwMode="auto">
          <a:xfrm>
            <a:off x="250825" y="836613"/>
            <a:ext cx="864235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5603" name="Text Box 3"/>
          <p:cNvSpPr txBox="1">
            <a:spLocks noChangeArrowheads="1"/>
          </p:cNvSpPr>
          <p:nvPr/>
        </p:nvSpPr>
        <p:spPr bwMode="auto">
          <a:xfrm>
            <a:off x="250825" y="333375"/>
            <a:ext cx="86423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r>
              <a:rPr lang="hu-HU" b="1">
                <a:solidFill>
                  <a:srgbClr val="FF0000"/>
                </a:solidFill>
                <a:latin typeface="Tahoma" pitchFamily="34" charset="0"/>
              </a:rPr>
              <a:t>A szolgáltatások célcsoportjai</a:t>
            </a:r>
          </a:p>
        </p:txBody>
      </p:sp>
      <p:pic>
        <p:nvPicPr>
          <p:cNvPr id="25604" name="Picture 4" descr="201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388" y="1412875"/>
            <a:ext cx="8816975" cy="437673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Line 2"/>
          <p:cNvSpPr>
            <a:spLocks noChangeShapeType="1"/>
          </p:cNvSpPr>
          <p:nvPr/>
        </p:nvSpPr>
        <p:spPr bwMode="auto">
          <a:xfrm>
            <a:off x="250825" y="1125538"/>
            <a:ext cx="864235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4579" name="Text Box 3"/>
          <p:cNvSpPr txBox="1">
            <a:spLocks noChangeArrowheads="1"/>
          </p:cNvSpPr>
          <p:nvPr/>
        </p:nvSpPr>
        <p:spPr bwMode="auto">
          <a:xfrm>
            <a:off x="250825" y="333375"/>
            <a:ext cx="8642350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r>
              <a:rPr lang="hu-HU" b="1">
                <a:latin typeface="Tahoma" pitchFamily="34" charset="0"/>
              </a:rPr>
              <a:t>A vállalkozási tevékenység elindítása hét, egymást erősítő területen javasolt</a:t>
            </a:r>
          </a:p>
        </p:txBody>
      </p:sp>
      <p:pic>
        <p:nvPicPr>
          <p:cNvPr id="24580" name="Picture 4" descr="201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388" y="1412875"/>
            <a:ext cx="8816975" cy="4546600"/>
          </a:xfrm>
          <a:prstGeom prst="rect">
            <a:avLst/>
          </a:prstGeom>
          <a:noFill/>
        </p:spPr>
      </p:pic>
      <p:sp>
        <p:nvSpPr>
          <p:cNvPr id="24581" name="Oval 5"/>
          <p:cNvSpPr>
            <a:spLocks noChangeArrowheads="1"/>
          </p:cNvSpPr>
          <p:nvPr/>
        </p:nvSpPr>
        <p:spPr bwMode="auto">
          <a:xfrm>
            <a:off x="1908175" y="5229225"/>
            <a:ext cx="1727200" cy="431800"/>
          </a:xfrm>
          <a:prstGeom prst="ellipse">
            <a:avLst/>
          </a:prstGeom>
          <a:noFill/>
          <a:ln w="25400">
            <a:solidFill>
              <a:srgbClr val="FF0000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hu-HU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5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ox(in)">
                                      <p:cBhvr>
                                        <p:cTn id="7" dur="500"/>
                                        <p:tgtEl>
                                          <p:spTgt spid="245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581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Line 2"/>
          <p:cNvSpPr>
            <a:spLocks noChangeShapeType="1"/>
          </p:cNvSpPr>
          <p:nvPr/>
        </p:nvSpPr>
        <p:spPr bwMode="auto">
          <a:xfrm>
            <a:off x="250825" y="836613"/>
            <a:ext cx="864235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28675" name="Text Box 3"/>
          <p:cNvSpPr txBox="1">
            <a:spLocks noChangeArrowheads="1"/>
          </p:cNvSpPr>
          <p:nvPr/>
        </p:nvSpPr>
        <p:spPr bwMode="auto">
          <a:xfrm>
            <a:off x="250825" y="333375"/>
            <a:ext cx="86423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r>
              <a:rPr lang="hu-HU" sz="2000" b="1">
                <a:latin typeface="Tahoma" pitchFamily="34" charset="0"/>
              </a:rPr>
              <a:t>A DE AGTC művelési területek, művelési ágak</a:t>
            </a:r>
          </a:p>
        </p:txBody>
      </p:sp>
      <p:graphicFrame>
        <p:nvGraphicFramePr>
          <p:cNvPr id="28915" name="Group 243"/>
          <p:cNvGraphicFramePr>
            <a:graphicFrameLocks noGrp="1"/>
          </p:cNvGraphicFramePr>
          <p:nvPr>
            <p:ph/>
          </p:nvPr>
        </p:nvGraphicFramePr>
        <p:xfrm>
          <a:off x="323850" y="1196975"/>
          <a:ext cx="8229600" cy="5102225"/>
        </p:xfrm>
        <a:graphic>
          <a:graphicData uri="http://schemas.openxmlformats.org/drawingml/2006/table">
            <a:tbl>
              <a:tblPr/>
              <a:tblGrid>
                <a:gridCol w="2743200"/>
                <a:gridCol w="2743200"/>
                <a:gridCol w="2743200"/>
              </a:tblGrid>
              <a:tr h="180975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2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ahoma" pitchFamily="34" charset="0"/>
                        </a:rPr>
                        <a:t>Összes terület</a:t>
                      </a:r>
                    </a:p>
                  </a:txBody>
                  <a:tcPr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6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hu-H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2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ahoma" pitchFamily="34" charset="0"/>
                        </a:rPr>
                        <a:t>2 216 h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66"/>
                    </a:solidFill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ebből</a:t>
                      </a:r>
                    </a:p>
                  </a:txBody>
                  <a:tcPr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állami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2 154 h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66"/>
                    </a:solidFill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bérelt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62 h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66"/>
                    </a:solidFill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horzOverflow="overflow">
                    <a:lnL cap="flat"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horzOverflow="overflow">
                    <a:lnL>
                      <a:noFill/>
                    </a:lnL>
                    <a:lnR>
                      <a:noFill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horzOverflow="overflow">
                    <a:lnL>
                      <a:noFill/>
                    </a:lnL>
                    <a:lnR cap="flat">
                      <a:noFill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Művelési ágak</a:t>
                      </a:r>
                    </a:p>
                  </a:txBody>
                  <a:tcPr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szántó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1 745 h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826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gyümölcsös 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36 h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szőlő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1 h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konyhakert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2 h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gyep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191 h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48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erdő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152 h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Művelésből kivont</a:t>
                      </a:r>
                    </a:p>
                  </a:txBody>
                  <a:tcPr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sz="2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sz="2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</a:rPr>
                        <a:t>89 ha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8" name="Line 6"/>
          <p:cNvSpPr>
            <a:spLocks noChangeShapeType="1"/>
          </p:cNvSpPr>
          <p:nvPr/>
        </p:nvSpPr>
        <p:spPr bwMode="auto">
          <a:xfrm>
            <a:off x="250825" y="908050"/>
            <a:ext cx="864235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3079" name="Text Box 7"/>
          <p:cNvSpPr txBox="1">
            <a:spLocks noChangeArrowheads="1"/>
          </p:cNvSpPr>
          <p:nvPr/>
        </p:nvSpPr>
        <p:spPr bwMode="auto">
          <a:xfrm>
            <a:off x="250825" y="188913"/>
            <a:ext cx="8642350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r>
              <a:rPr lang="hu-HU" b="1">
                <a:latin typeface="Tahoma" pitchFamily="34" charset="0"/>
              </a:rPr>
              <a:t>Az </a:t>
            </a:r>
            <a:r>
              <a:rPr lang="hu-HU" b="1">
                <a:solidFill>
                  <a:srgbClr val="FF0000"/>
                </a:solidFill>
                <a:latin typeface="Tahoma" pitchFamily="34" charset="0"/>
              </a:rPr>
              <a:t>AGTC küldetése</a:t>
            </a:r>
            <a:r>
              <a:rPr lang="hu-HU" b="1">
                <a:latin typeface="Tahoma" pitchFamily="34" charset="0"/>
              </a:rPr>
              <a:t> a mezőgazdasági oktatás mellett </a:t>
            </a:r>
            <a:r>
              <a:rPr lang="hu-HU" b="1">
                <a:solidFill>
                  <a:srgbClr val="FF0000"/>
                </a:solidFill>
                <a:latin typeface="Tahoma" pitchFamily="34" charset="0"/>
              </a:rPr>
              <a:t>a környezet és a vidék fejlesztése Kelet-Magyarországon</a:t>
            </a:r>
          </a:p>
        </p:txBody>
      </p:sp>
      <p:pic>
        <p:nvPicPr>
          <p:cNvPr id="3080" name="Picture 8" descr="201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388" y="1268413"/>
            <a:ext cx="8713787" cy="4751387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1" name="WordArt 3"/>
          <p:cNvSpPr>
            <a:spLocks noChangeArrowheads="1" noChangeShapeType="1" noTextEdit="1"/>
          </p:cNvSpPr>
          <p:nvPr/>
        </p:nvSpPr>
        <p:spPr bwMode="auto">
          <a:xfrm>
            <a:off x="1947863" y="3154363"/>
            <a:ext cx="5248275" cy="552450"/>
          </a:xfrm>
          <a:prstGeom prst="rect">
            <a:avLst/>
          </a:prstGeom>
        </p:spPr>
        <p:txBody>
          <a:bodyPr wrap="none" fromWordArt="1">
            <a:prstTxWarp prst="textPlain">
              <a:avLst>
                <a:gd name="adj" fmla="val 50000"/>
              </a:avLst>
            </a:prstTxWarp>
          </a:bodyPr>
          <a:lstStyle/>
          <a:p>
            <a:pPr algn="ctr"/>
            <a:r>
              <a:rPr lang="hu-HU" sz="3600" b="1" kern="10">
                <a:ln w="9525">
                  <a:noFill/>
                  <a:round/>
                  <a:headEnd/>
                  <a:tailEnd/>
                </a:ln>
                <a:solidFill>
                  <a:srgbClr val="336699"/>
                </a:solidFill>
                <a:effectLst>
                  <a:outerShdw dist="45791" dir="2021404" algn="ctr" rotWithShape="0">
                    <a:srgbClr val="B2B2B2">
                      <a:alpha val="80000"/>
                    </a:srgbClr>
                  </a:outerShdw>
                </a:effectLst>
                <a:latin typeface="Tahoma"/>
                <a:ea typeface="Tahoma"/>
                <a:cs typeface="Tahoma"/>
              </a:rPr>
              <a:t>Köszönöm a figyelmet!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Line 2"/>
          <p:cNvSpPr>
            <a:spLocks noChangeShapeType="1"/>
          </p:cNvSpPr>
          <p:nvPr/>
        </p:nvSpPr>
        <p:spPr bwMode="auto">
          <a:xfrm>
            <a:off x="250825" y="1125538"/>
            <a:ext cx="864235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4099" name="Text Box 3"/>
          <p:cNvSpPr txBox="1">
            <a:spLocks noChangeArrowheads="1"/>
          </p:cNvSpPr>
          <p:nvPr/>
        </p:nvSpPr>
        <p:spPr bwMode="auto">
          <a:xfrm>
            <a:off x="250825" y="188913"/>
            <a:ext cx="8642350" cy="91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r>
              <a:rPr lang="hu-HU" b="1">
                <a:latin typeface="Tahoma" pitchFamily="34" charset="0"/>
              </a:rPr>
              <a:t>A </a:t>
            </a:r>
            <a:r>
              <a:rPr lang="hu-HU" b="1">
                <a:solidFill>
                  <a:srgbClr val="FF0000"/>
                </a:solidFill>
                <a:latin typeface="Tahoma" pitchFamily="34" charset="0"/>
              </a:rPr>
              <a:t>TRET </a:t>
            </a:r>
            <a:r>
              <a:rPr lang="hu-HU" b="1">
                <a:latin typeface="Tahoma" pitchFamily="34" charset="0"/>
              </a:rPr>
              <a:t>– egy belső szolgáltató egységként </a:t>
            </a:r>
            <a:r>
              <a:rPr lang="hu-HU" b="1"/>
              <a:t>– </a:t>
            </a:r>
            <a:r>
              <a:rPr lang="hu-HU" b="1">
                <a:solidFill>
                  <a:srgbClr val="FF0000"/>
                </a:solidFill>
                <a:latin typeface="Tahoma" pitchFamily="34" charset="0"/>
              </a:rPr>
              <a:t>az egyetemi tudás és a </a:t>
            </a:r>
          </a:p>
          <a:p>
            <a:r>
              <a:rPr lang="hu-HU" b="1">
                <a:solidFill>
                  <a:srgbClr val="FF0000"/>
                </a:solidFill>
                <a:latin typeface="Tahoma" pitchFamily="34" charset="0"/>
              </a:rPr>
              <a:t>K+F+I eredmények gyakorlati hasznosulásá</a:t>
            </a:r>
            <a:r>
              <a:rPr lang="hu-HU" b="1">
                <a:latin typeface="Tahoma" pitchFamily="34" charset="0"/>
              </a:rPr>
              <a:t>nak támogatásával tudja segíteni az AGTC küldetésének megvalósítását</a:t>
            </a:r>
          </a:p>
        </p:txBody>
      </p:sp>
      <p:pic>
        <p:nvPicPr>
          <p:cNvPr id="4101" name="Picture 5" descr="201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388" y="1484313"/>
            <a:ext cx="8890000" cy="4725987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Line 2"/>
          <p:cNvSpPr>
            <a:spLocks noChangeShapeType="1"/>
          </p:cNvSpPr>
          <p:nvPr/>
        </p:nvSpPr>
        <p:spPr bwMode="auto">
          <a:xfrm>
            <a:off x="250825" y="908050"/>
            <a:ext cx="864235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5123" name="Text Box 3"/>
          <p:cNvSpPr txBox="1">
            <a:spLocks noChangeArrowheads="1"/>
          </p:cNvSpPr>
          <p:nvPr/>
        </p:nvSpPr>
        <p:spPr bwMode="auto">
          <a:xfrm>
            <a:off x="250825" y="188913"/>
            <a:ext cx="8642350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r>
              <a:rPr lang="hu-HU" b="1">
                <a:latin typeface="Tahoma" pitchFamily="34" charset="0"/>
              </a:rPr>
              <a:t>A </a:t>
            </a:r>
            <a:r>
              <a:rPr lang="hu-HU" b="1">
                <a:solidFill>
                  <a:srgbClr val="FF0000"/>
                </a:solidFill>
                <a:latin typeface="Tahoma" pitchFamily="34" charset="0"/>
              </a:rPr>
              <a:t>TRET</a:t>
            </a:r>
            <a:r>
              <a:rPr lang="hu-HU" b="1">
                <a:latin typeface="Tahoma" pitchFamily="34" charset="0"/>
              </a:rPr>
              <a:t> új missziója </a:t>
            </a:r>
            <a:r>
              <a:rPr lang="hu-HU" b="1">
                <a:solidFill>
                  <a:srgbClr val="FF0000"/>
                </a:solidFill>
                <a:latin typeface="Tahoma" pitchFamily="34" charset="0"/>
              </a:rPr>
              <a:t>az egyetemi tudás és a K+F+I eredmények gyakorlati hasznosulás</a:t>
            </a:r>
            <a:r>
              <a:rPr lang="hu-HU" b="1">
                <a:latin typeface="Tahoma" pitchFamily="34" charset="0"/>
              </a:rPr>
              <a:t>ára fókuszál</a:t>
            </a:r>
          </a:p>
        </p:txBody>
      </p:sp>
      <p:pic>
        <p:nvPicPr>
          <p:cNvPr id="5125" name="Picture 5" descr="201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76375" y="1052513"/>
            <a:ext cx="6192838" cy="56007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Line 2"/>
          <p:cNvSpPr>
            <a:spLocks noChangeShapeType="1"/>
          </p:cNvSpPr>
          <p:nvPr/>
        </p:nvSpPr>
        <p:spPr bwMode="auto">
          <a:xfrm>
            <a:off x="250825" y="1125538"/>
            <a:ext cx="864235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11267" name="Text Box 3"/>
          <p:cNvSpPr txBox="1">
            <a:spLocks noChangeArrowheads="1"/>
          </p:cNvSpPr>
          <p:nvPr/>
        </p:nvSpPr>
        <p:spPr bwMode="auto">
          <a:xfrm>
            <a:off x="250825" y="188913"/>
            <a:ext cx="8642350" cy="91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r>
              <a:rPr lang="hu-HU" b="1">
                <a:latin typeface="Tahoma" pitchFamily="34" charset="0"/>
              </a:rPr>
              <a:t>A TRET jövőbeni tevékenységi köre a </a:t>
            </a:r>
            <a:r>
              <a:rPr lang="hu-HU" b="1">
                <a:solidFill>
                  <a:srgbClr val="FF0000"/>
                </a:solidFill>
                <a:latin typeface="Tahoma" pitchFamily="34" charset="0"/>
              </a:rPr>
              <a:t>kutatások koordinációja</a:t>
            </a:r>
            <a:r>
              <a:rPr lang="hu-HU" b="1">
                <a:latin typeface="Tahoma" pitchFamily="34" charset="0"/>
              </a:rPr>
              <a:t> és </a:t>
            </a:r>
            <a:r>
              <a:rPr lang="hu-HU" b="1">
                <a:solidFill>
                  <a:srgbClr val="FF0000"/>
                </a:solidFill>
                <a:latin typeface="Tahoma" pitchFamily="34" charset="0"/>
              </a:rPr>
              <a:t>hasznosítása</a:t>
            </a:r>
            <a:r>
              <a:rPr lang="hu-HU" b="1">
                <a:latin typeface="Tahoma" pitchFamily="34" charset="0"/>
              </a:rPr>
              <a:t>, a </a:t>
            </a:r>
            <a:r>
              <a:rPr lang="hu-HU" b="1">
                <a:solidFill>
                  <a:srgbClr val="FF0000"/>
                </a:solidFill>
                <a:latin typeface="Tahoma" pitchFamily="34" charset="0"/>
              </a:rPr>
              <a:t>vállalkozásfejlesztés</a:t>
            </a:r>
            <a:r>
              <a:rPr lang="hu-HU" b="1">
                <a:latin typeface="Tahoma" pitchFamily="34" charset="0"/>
              </a:rPr>
              <a:t>, valamint a </a:t>
            </a:r>
            <a:r>
              <a:rPr lang="hu-HU" b="1">
                <a:solidFill>
                  <a:srgbClr val="FF0000"/>
                </a:solidFill>
                <a:latin typeface="Tahoma" pitchFamily="34" charset="0"/>
              </a:rPr>
              <a:t>területfejlesztés</a:t>
            </a:r>
            <a:r>
              <a:rPr lang="hu-HU" b="1">
                <a:latin typeface="Tahoma" pitchFamily="34" charset="0"/>
              </a:rPr>
              <a:t> pilléreire épül</a:t>
            </a:r>
          </a:p>
        </p:txBody>
      </p:sp>
      <p:pic>
        <p:nvPicPr>
          <p:cNvPr id="11280" name="Picture 16" descr="201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7950" y="1628775"/>
            <a:ext cx="8818563" cy="454818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Line 2"/>
          <p:cNvSpPr>
            <a:spLocks noChangeShapeType="1"/>
          </p:cNvSpPr>
          <p:nvPr/>
        </p:nvSpPr>
        <p:spPr bwMode="auto">
          <a:xfrm>
            <a:off x="250825" y="908050"/>
            <a:ext cx="864235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10243" name="Text Box 3"/>
          <p:cNvSpPr txBox="1">
            <a:spLocks noChangeArrowheads="1"/>
          </p:cNvSpPr>
          <p:nvPr/>
        </p:nvSpPr>
        <p:spPr bwMode="auto">
          <a:xfrm>
            <a:off x="250825" y="188913"/>
            <a:ext cx="8642350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r>
              <a:rPr lang="hu-HU" b="1">
                <a:latin typeface="Tahoma" pitchFamily="34" charset="0"/>
              </a:rPr>
              <a:t>Az </a:t>
            </a:r>
            <a:r>
              <a:rPr lang="hu-HU" b="1">
                <a:solidFill>
                  <a:srgbClr val="FF0000"/>
                </a:solidFill>
                <a:latin typeface="Tahoma" pitchFamily="34" charset="0"/>
              </a:rPr>
              <a:t>AGTC szerepe a terület- és vállalkozásfejlesztésben</a:t>
            </a:r>
            <a:r>
              <a:rPr lang="hu-HU" b="1">
                <a:latin typeface="Tahoma" pitchFamily="34" charset="0"/>
              </a:rPr>
              <a:t>: a </a:t>
            </a:r>
          </a:p>
          <a:p>
            <a:r>
              <a:rPr lang="hu-HU" b="1">
                <a:latin typeface="Tahoma" pitchFamily="34" charset="0"/>
              </a:rPr>
              <a:t>jövőképpel kapcsolatos állítások</a:t>
            </a:r>
          </a:p>
        </p:txBody>
      </p:sp>
      <p:grpSp>
        <p:nvGrpSpPr>
          <p:cNvPr id="10244" name="Gruppieren 6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611188" y="1139825"/>
            <a:ext cx="7993062" cy="549275"/>
            <a:chOff x="1270000" y="1222202"/>
            <a:chExt cx="7372351" cy="697693"/>
          </a:xfrm>
        </p:grpSpPr>
        <p:sp>
          <p:nvSpPr>
            <p:cNvPr id="8" name="Rectangle 4"/>
            <p:cNvSpPr>
              <a:spLocks noChangeArrowheads="1"/>
            </p:cNvSpPr>
            <p:nvPr/>
          </p:nvSpPr>
          <p:spPr bwMode="auto">
            <a:xfrm>
              <a:off x="1687302" y="1222202"/>
              <a:ext cx="6955049" cy="6210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defTabSz="857250" eaLnBrk="0" hangingPunct="0">
                <a:spcBef>
                  <a:spcPct val="20000"/>
                </a:spcBef>
                <a:buClr>
                  <a:schemeClr val="accent1"/>
                </a:buClr>
                <a:buSzPct val="80000"/>
                <a:buFont typeface="Wingdings" pitchFamily="2" charset="2"/>
                <a:buNone/>
              </a:pPr>
              <a:r>
                <a:rPr lang="hu-HU" sz="1600">
                  <a:latin typeface="Tahoma" pitchFamily="34" charset="0"/>
                </a:rPr>
                <a:t>Az AGTC területfejlesztési tevékenysége az </a:t>
              </a:r>
              <a:r>
                <a:rPr lang="hu-HU" sz="1600" b="1">
                  <a:latin typeface="Tahoma" pitchFamily="34" charset="0"/>
                </a:rPr>
                <a:t>agrárvállalkozások fejlesztésében</a:t>
              </a:r>
              <a:r>
                <a:rPr lang="hu-HU" sz="1600">
                  <a:latin typeface="Tahoma" pitchFamily="34" charset="0"/>
                </a:rPr>
                <a:t> és a vidéki önkormányzatok támogatásában jelentkezik </a:t>
              </a:r>
              <a:endParaRPr lang="en-US" sz="1600">
                <a:latin typeface="Tahoma" pitchFamily="34" charset="0"/>
              </a:endParaRPr>
            </a:p>
          </p:txBody>
        </p:sp>
        <p:grpSp>
          <p:nvGrpSpPr>
            <p:cNvPr id="10246" name="Gruppieren 31"/>
            <p:cNvGrpSpPr>
              <a:grpSpLocks/>
            </p:cNvGrpSpPr>
            <p:nvPr/>
          </p:nvGrpSpPr>
          <p:grpSpPr bwMode="auto">
            <a:xfrm>
              <a:off x="1270000" y="1570645"/>
              <a:ext cx="7372350" cy="349250"/>
              <a:chOff x="1270000" y="1570645"/>
              <a:chExt cx="7372350" cy="349250"/>
            </a:xfrm>
          </p:grpSpPr>
          <p:sp>
            <p:nvSpPr>
              <p:cNvPr id="10" name="Rectangle 5"/>
              <p:cNvSpPr>
                <a:spLocks noChangeArrowheads="1"/>
              </p:cNvSpPr>
              <p:nvPr/>
            </p:nvSpPr>
            <p:spPr bwMode="auto">
              <a:xfrm>
                <a:off x="1270000" y="1571049"/>
                <a:ext cx="282594" cy="348846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eaLnBrk="0" hangingPunct="0">
                  <a:spcBef>
                    <a:spcPct val="50000"/>
                  </a:spcBef>
                  <a:buClr>
                    <a:schemeClr val="accent1"/>
                  </a:buClr>
                  <a:buSzPct val="80000"/>
                  <a:buFont typeface="Wingdings" pitchFamily="2" charset="2"/>
                  <a:buNone/>
                </a:pPr>
                <a:endParaRPr lang="de-CH" sz="1600">
                  <a:latin typeface="Tahoma" pitchFamily="34" charset="0"/>
                </a:endParaRPr>
              </a:p>
            </p:txBody>
          </p:sp>
          <p:sp>
            <p:nvSpPr>
              <p:cNvPr id="11" name="Line 6"/>
              <p:cNvSpPr>
                <a:spLocks noChangeShapeType="1"/>
              </p:cNvSpPr>
              <p:nvPr/>
            </p:nvSpPr>
            <p:spPr bwMode="auto">
              <a:xfrm>
                <a:off x="1270000" y="1919895"/>
                <a:ext cx="7372351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72000" tIns="72000" rIns="72000" bIns="72000" anchor="ctr"/>
              <a:lstStyle/>
              <a:p>
                <a:pPr eaLnBrk="0" hangingPunct="0">
                  <a:spcBef>
                    <a:spcPct val="50000"/>
                  </a:spcBef>
                  <a:buClr>
                    <a:schemeClr val="accent1"/>
                  </a:buClr>
                  <a:buSzPct val="80000"/>
                  <a:buFont typeface="Wingdings" pitchFamily="2" charset="2"/>
                  <a:buNone/>
                  <a:defRPr/>
                </a:pPr>
                <a:endParaRPr lang="de-DE">
                  <a:latin typeface="+mn-lt"/>
                </a:endParaRPr>
              </a:p>
            </p:txBody>
          </p:sp>
        </p:grpSp>
      </p:grpSp>
      <p:grpSp>
        <p:nvGrpSpPr>
          <p:cNvPr id="10249" name="Gruppieren 11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611188" y="1916113"/>
            <a:ext cx="7993062" cy="547687"/>
            <a:chOff x="1270000" y="2037801"/>
            <a:chExt cx="7372351" cy="696482"/>
          </a:xfrm>
        </p:grpSpPr>
        <p:sp>
          <p:nvSpPr>
            <p:cNvPr id="13" name="Rectangle 8"/>
            <p:cNvSpPr>
              <a:spLocks noChangeArrowheads="1"/>
            </p:cNvSpPr>
            <p:nvPr/>
          </p:nvSpPr>
          <p:spPr bwMode="auto">
            <a:xfrm>
              <a:off x="1688767" y="2037801"/>
              <a:ext cx="6953584" cy="6217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defTabSz="857250" eaLnBrk="0" hangingPunct="0">
                <a:spcBef>
                  <a:spcPct val="20000"/>
                </a:spcBef>
                <a:buClr>
                  <a:schemeClr val="accent1"/>
                </a:buClr>
                <a:buSzPct val="80000"/>
                <a:buFont typeface="Wingdings" pitchFamily="2" charset="2"/>
                <a:buNone/>
              </a:pPr>
              <a:r>
                <a:rPr lang="hu-HU" sz="1600">
                  <a:latin typeface="Tahoma" pitchFamily="34" charset="0"/>
                </a:rPr>
                <a:t>A régió fejlesztése érdekében az AGTC területfejlesztési célú tevékenységét az érintettek mellett a regionális és országos  szervezetekkel együttműködve végzi</a:t>
              </a:r>
              <a:endParaRPr lang="en-US" sz="1600">
                <a:latin typeface="Tahoma" pitchFamily="34" charset="0"/>
              </a:endParaRPr>
            </a:p>
          </p:txBody>
        </p:sp>
        <p:grpSp>
          <p:nvGrpSpPr>
            <p:cNvPr id="10251" name="Gruppieren 33"/>
            <p:cNvGrpSpPr>
              <a:grpSpLocks/>
            </p:cNvGrpSpPr>
            <p:nvPr/>
          </p:nvGrpSpPr>
          <p:grpSpPr bwMode="auto">
            <a:xfrm>
              <a:off x="1270000" y="2385033"/>
              <a:ext cx="7372350" cy="349250"/>
              <a:chOff x="1270000" y="2385033"/>
              <a:chExt cx="7372350" cy="349250"/>
            </a:xfrm>
          </p:grpSpPr>
          <p:sp>
            <p:nvSpPr>
              <p:cNvPr id="15" name="Rectangle 9"/>
              <p:cNvSpPr>
                <a:spLocks noChangeArrowheads="1"/>
              </p:cNvSpPr>
              <p:nvPr/>
            </p:nvSpPr>
            <p:spPr bwMode="auto">
              <a:xfrm>
                <a:off x="1270000" y="2385033"/>
                <a:ext cx="282594" cy="349250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eaLnBrk="0" hangingPunct="0">
                  <a:spcBef>
                    <a:spcPct val="50000"/>
                  </a:spcBef>
                  <a:buClr>
                    <a:schemeClr val="accent1"/>
                  </a:buClr>
                  <a:buSzPct val="80000"/>
                  <a:buFont typeface="Wingdings" pitchFamily="2" charset="2"/>
                  <a:buNone/>
                </a:pPr>
                <a:endParaRPr lang="de-CH" sz="1600">
                  <a:latin typeface="Tahoma" pitchFamily="34" charset="0"/>
                </a:endParaRPr>
              </a:p>
            </p:txBody>
          </p:sp>
          <p:sp>
            <p:nvSpPr>
              <p:cNvPr id="16" name="Line 10"/>
              <p:cNvSpPr>
                <a:spLocks noChangeShapeType="1"/>
              </p:cNvSpPr>
              <p:nvPr/>
            </p:nvSpPr>
            <p:spPr bwMode="auto">
              <a:xfrm>
                <a:off x="1270000" y="2734283"/>
                <a:ext cx="7372351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72000" tIns="72000" rIns="72000" bIns="72000" anchor="ctr"/>
              <a:lstStyle/>
              <a:p>
                <a:pPr eaLnBrk="0" hangingPunct="0">
                  <a:spcBef>
                    <a:spcPct val="50000"/>
                  </a:spcBef>
                  <a:buClr>
                    <a:schemeClr val="accent1"/>
                  </a:buClr>
                  <a:buSzPct val="80000"/>
                  <a:buFont typeface="Wingdings" pitchFamily="2" charset="2"/>
                  <a:buNone/>
                  <a:defRPr/>
                </a:pPr>
                <a:endParaRPr lang="de-DE">
                  <a:latin typeface="+mn-lt"/>
                </a:endParaRPr>
              </a:p>
            </p:txBody>
          </p:sp>
        </p:grpSp>
      </p:grpSp>
      <p:grpSp>
        <p:nvGrpSpPr>
          <p:cNvPr id="10254" name="Gruppieren 16"/>
          <p:cNvGrpSpPr>
            <a:grpSpLocks/>
          </p:cNvGrpSpPr>
          <p:nvPr>
            <p:custDataLst>
              <p:tags r:id="rId3"/>
            </p:custDataLst>
          </p:nvPr>
        </p:nvGrpSpPr>
        <p:grpSpPr bwMode="auto">
          <a:xfrm>
            <a:off x="611188" y="2809875"/>
            <a:ext cx="7993062" cy="303213"/>
            <a:chOff x="1270000" y="3164670"/>
            <a:chExt cx="7372351" cy="385588"/>
          </a:xfrm>
        </p:grpSpPr>
        <p:sp>
          <p:nvSpPr>
            <p:cNvPr id="18" name="Rectangle 12"/>
            <p:cNvSpPr>
              <a:spLocks noChangeArrowheads="1"/>
            </p:cNvSpPr>
            <p:nvPr/>
          </p:nvSpPr>
          <p:spPr bwMode="auto">
            <a:xfrm>
              <a:off x="1687302" y="3164670"/>
              <a:ext cx="6955049" cy="31089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defTabSz="857250" eaLnBrk="0" hangingPunct="0">
                <a:spcBef>
                  <a:spcPct val="20000"/>
                </a:spcBef>
                <a:buClr>
                  <a:schemeClr val="accent1"/>
                </a:buClr>
                <a:buSzPct val="80000"/>
                <a:buFont typeface="Wingdings" pitchFamily="2" charset="2"/>
                <a:buNone/>
              </a:pPr>
              <a:r>
                <a:rPr lang="hu-HU" sz="1600">
                  <a:latin typeface="Tahoma" pitchFamily="34" charset="0"/>
                </a:rPr>
                <a:t>A vállalkozásfejlesztés nem kizárólag területfejlesztési szempontú</a:t>
              </a:r>
              <a:endParaRPr lang="en-US" sz="1600">
                <a:latin typeface="Tahoma" pitchFamily="34" charset="0"/>
              </a:endParaRPr>
            </a:p>
          </p:txBody>
        </p:sp>
        <p:grpSp>
          <p:nvGrpSpPr>
            <p:cNvPr id="10256" name="Gruppieren 35"/>
            <p:cNvGrpSpPr>
              <a:grpSpLocks/>
            </p:cNvGrpSpPr>
            <p:nvPr/>
          </p:nvGrpSpPr>
          <p:grpSpPr bwMode="auto">
            <a:xfrm>
              <a:off x="1270000" y="3201008"/>
              <a:ext cx="7372350" cy="349250"/>
              <a:chOff x="1270000" y="3201008"/>
              <a:chExt cx="7372350" cy="349250"/>
            </a:xfrm>
          </p:grpSpPr>
          <p:sp>
            <p:nvSpPr>
              <p:cNvPr id="20" name="Rectangle 13"/>
              <p:cNvSpPr>
                <a:spLocks noChangeArrowheads="1"/>
              </p:cNvSpPr>
              <p:nvPr/>
            </p:nvSpPr>
            <p:spPr bwMode="auto">
              <a:xfrm>
                <a:off x="1270000" y="3201008"/>
                <a:ext cx="282594" cy="349250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eaLnBrk="0" hangingPunct="0">
                  <a:spcBef>
                    <a:spcPct val="50000"/>
                  </a:spcBef>
                  <a:buClr>
                    <a:schemeClr val="accent1"/>
                  </a:buClr>
                  <a:buSzPct val="80000"/>
                  <a:buFont typeface="Wingdings" pitchFamily="2" charset="2"/>
                  <a:buNone/>
                </a:pPr>
                <a:endParaRPr lang="de-CH" sz="1600">
                  <a:latin typeface="Tahoma" pitchFamily="34" charset="0"/>
                </a:endParaRPr>
              </a:p>
            </p:txBody>
          </p:sp>
          <p:sp>
            <p:nvSpPr>
              <p:cNvPr id="21" name="Line 14"/>
              <p:cNvSpPr>
                <a:spLocks noChangeShapeType="1"/>
              </p:cNvSpPr>
              <p:nvPr/>
            </p:nvSpPr>
            <p:spPr bwMode="auto">
              <a:xfrm>
                <a:off x="1270000" y="3550258"/>
                <a:ext cx="7372351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72000" tIns="72000" rIns="72000" bIns="72000" anchor="ctr"/>
              <a:lstStyle/>
              <a:p>
                <a:pPr eaLnBrk="0" hangingPunct="0">
                  <a:spcBef>
                    <a:spcPct val="50000"/>
                  </a:spcBef>
                  <a:buClr>
                    <a:schemeClr val="accent1"/>
                  </a:buClr>
                  <a:buSzPct val="80000"/>
                  <a:buFont typeface="Wingdings" pitchFamily="2" charset="2"/>
                  <a:buNone/>
                  <a:defRPr/>
                </a:pPr>
                <a:endParaRPr lang="de-DE">
                  <a:latin typeface="+mn-lt"/>
                </a:endParaRPr>
              </a:p>
            </p:txBody>
          </p:sp>
        </p:grpSp>
      </p:grpSp>
      <p:grpSp>
        <p:nvGrpSpPr>
          <p:cNvPr id="10259" name="Gruppieren 21"/>
          <p:cNvGrpSpPr>
            <a:grpSpLocks/>
          </p:cNvGrpSpPr>
          <p:nvPr>
            <p:custDataLst>
              <p:tags r:id="rId4"/>
            </p:custDataLst>
          </p:nvPr>
        </p:nvGrpSpPr>
        <p:grpSpPr bwMode="auto">
          <a:xfrm>
            <a:off x="611188" y="3208338"/>
            <a:ext cx="7993062" cy="547687"/>
            <a:chOff x="1270000" y="3670503"/>
            <a:chExt cx="7372351" cy="695730"/>
          </a:xfrm>
        </p:grpSpPr>
        <p:sp>
          <p:nvSpPr>
            <p:cNvPr id="23" name="Rectangle 16"/>
            <p:cNvSpPr>
              <a:spLocks noChangeArrowheads="1"/>
            </p:cNvSpPr>
            <p:nvPr/>
          </p:nvSpPr>
          <p:spPr bwMode="auto">
            <a:xfrm>
              <a:off x="1687302" y="3670503"/>
              <a:ext cx="6955049" cy="6211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defTabSz="857250" eaLnBrk="0" hangingPunct="0">
                <a:spcBef>
                  <a:spcPct val="20000"/>
                </a:spcBef>
                <a:buClr>
                  <a:schemeClr val="accent1"/>
                </a:buClr>
                <a:buSzPct val="80000"/>
                <a:buFont typeface="Wingdings" pitchFamily="2" charset="2"/>
                <a:buNone/>
              </a:pPr>
              <a:r>
                <a:rPr lang="hu-HU" sz="1600">
                  <a:latin typeface="Tahoma" pitchFamily="34" charset="0"/>
                </a:rPr>
                <a:t>A területfejlesztésen belül cél, hogy </a:t>
              </a:r>
              <a:r>
                <a:rPr lang="hu-HU" sz="1600" b="1">
                  <a:latin typeface="Tahoma" pitchFamily="34" charset="0"/>
                </a:rPr>
                <a:t>elmaradott térségekkel is foglalkozzon az AGTC</a:t>
              </a:r>
              <a:r>
                <a:rPr lang="hu-HU" sz="1600">
                  <a:latin typeface="Tahoma" pitchFamily="34" charset="0"/>
                </a:rPr>
                <a:t> </a:t>
              </a:r>
              <a:endParaRPr lang="en-US" sz="1600">
                <a:latin typeface="Tahoma" pitchFamily="34" charset="0"/>
              </a:endParaRPr>
            </a:p>
          </p:txBody>
        </p:sp>
        <p:grpSp>
          <p:nvGrpSpPr>
            <p:cNvPr id="10261" name="Gruppieren 37"/>
            <p:cNvGrpSpPr>
              <a:grpSpLocks/>
            </p:cNvGrpSpPr>
            <p:nvPr/>
          </p:nvGrpSpPr>
          <p:grpSpPr bwMode="auto">
            <a:xfrm>
              <a:off x="1270000" y="4016983"/>
              <a:ext cx="7372350" cy="349250"/>
              <a:chOff x="1270000" y="4016983"/>
              <a:chExt cx="7372350" cy="349250"/>
            </a:xfrm>
          </p:grpSpPr>
          <p:sp>
            <p:nvSpPr>
              <p:cNvPr id="25" name="Rectangle 17"/>
              <p:cNvSpPr>
                <a:spLocks noChangeArrowheads="1"/>
              </p:cNvSpPr>
              <p:nvPr/>
            </p:nvSpPr>
            <p:spPr bwMode="auto">
              <a:xfrm>
                <a:off x="1270000" y="4017360"/>
                <a:ext cx="282594" cy="348873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eaLnBrk="0" hangingPunct="0">
                  <a:spcBef>
                    <a:spcPct val="50000"/>
                  </a:spcBef>
                  <a:buClr>
                    <a:schemeClr val="accent1"/>
                  </a:buClr>
                  <a:buSzPct val="80000"/>
                  <a:buFont typeface="Wingdings" pitchFamily="2" charset="2"/>
                  <a:buNone/>
                </a:pPr>
                <a:endParaRPr lang="de-CH" sz="1600">
                  <a:latin typeface="Tahoma" pitchFamily="34" charset="0"/>
                </a:endParaRPr>
              </a:p>
            </p:txBody>
          </p:sp>
          <p:sp>
            <p:nvSpPr>
              <p:cNvPr id="26" name="Line 18"/>
              <p:cNvSpPr>
                <a:spLocks noChangeShapeType="1"/>
              </p:cNvSpPr>
              <p:nvPr/>
            </p:nvSpPr>
            <p:spPr bwMode="auto">
              <a:xfrm>
                <a:off x="1270000" y="4366233"/>
                <a:ext cx="7372351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72000" tIns="72000" rIns="72000" bIns="72000" anchor="ctr"/>
              <a:lstStyle/>
              <a:p>
                <a:pPr eaLnBrk="0" hangingPunct="0">
                  <a:spcBef>
                    <a:spcPct val="50000"/>
                  </a:spcBef>
                  <a:buClr>
                    <a:schemeClr val="accent1"/>
                  </a:buClr>
                  <a:buSzPct val="80000"/>
                  <a:buFont typeface="Wingdings" pitchFamily="2" charset="2"/>
                  <a:buNone/>
                  <a:defRPr/>
                </a:pPr>
                <a:endParaRPr lang="de-DE">
                  <a:latin typeface="+mn-lt"/>
                </a:endParaRPr>
              </a:p>
            </p:txBody>
          </p:sp>
        </p:grpSp>
      </p:grpSp>
      <p:grpSp>
        <p:nvGrpSpPr>
          <p:cNvPr id="10264" name="Gruppieren 26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611188" y="3787775"/>
            <a:ext cx="7993062" cy="793750"/>
            <a:chOff x="1270000" y="4173981"/>
            <a:chExt cx="7372351" cy="1008227"/>
          </a:xfrm>
        </p:grpSpPr>
        <p:sp>
          <p:nvSpPr>
            <p:cNvPr id="28" name="Rectangle 20"/>
            <p:cNvSpPr>
              <a:spLocks noChangeArrowheads="1"/>
            </p:cNvSpPr>
            <p:nvPr/>
          </p:nvSpPr>
          <p:spPr bwMode="auto">
            <a:xfrm>
              <a:off x="1687302" y="4173981"/>
              <a:ext cx="6955049" cy="9316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defTabSz="857250" eaLnBrk="0" hangingPunct="0">
                <a:spcBef>
                  <a:spcPct val="20000"/>
                </a:spcBef>
                <a:buClr>
                  <a:schemeClr val="accent1"/>
                </a:buClr>
                <a:buSzPct val="80000"/>
                <a:buFont typeface="Wingdings" pitchFamily="2" charset="2"/>
                <a:buNone/>
              </a:pPr>
              <a:r>
                <a:rPr lang="hu-HU" sz="1600">
                  <a:latin typeface="Tahoma" pitchFamily="34" charset="0"/>
                </a:rPr>
                <a:t>A közvetlen, speciális vállalkozásfejlesztés célcsoportjaként definiálhatók az exportorientált, technológia-intenzív cégek, az általános fejlesztési tevékenység azonban kiterjed a kisebb, belső piacra termelő cégekre is</a:t>
              </a:r>
              <a:endParaRPr lang="en-US" sz="1600">
                <a:latin typeface="Tahoma" pitchFamily="34" charset="0"/>
              </a:endParaRPr>
            </a:p>
          </p:txBody>
        </p:sp>
        <p:grpSp>
          <p:nvGrpSpPr>
            <p:cNvPr id="10266" name="Gruppieren 39"/>
            <p:cNvGrpSpPr>
              <a:grpSpLocks/>
            </p:cNvGrpSpPr>
            <p:nvPr/>
          </p:nvGrpSpPr>
          <p:grpSpPr bwMode="auto">
            <a:xfrm>
              <a:off x="1270000" y="4832958"/>
              <a:ext cx="7372350" cy="349250"/>
              <a:chOff x="1270000" y="4832958"/>
              <a:chExt cx="7372350" cy="349250"/>
            </a:xfrm>
          </p:grpSpPr>
          <p:sp>
            <p:nvSpPr>
              <p:cNvPr id="30" name="Rectangle 21"/>
              <p:cNvSpPr>
                <a:spLocks noChangeArrowheads="1"/>
              </p:cNvSpPr>
              <p:nvPr/>
            </p:nvSpPr>
            <p:spPr bwMode="auto">
              <a:xfrm>
                <a:off x="1270000" y="4833362"/>
                <a:ext cx="282594" cy="348846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eaLnBrk="0" hangingPunct="0">
                  <a:spcBef>
                    <a:spcPct val="50000"/>
                  </a:spcBef>
                  <a:buClr>
                    <a:schemeClr val="accent1"/>
                  </a:buClr>
                  <a:buSzPct val="80000"/>
                  <a:buFont typeface="Wingdings" pitchFamily="2" charset="2"/>
                  <a:buNone/>
                </a:pPr>
                <a:endParaRPr lang="de-CH" sz="1600">
                  <a:latin typeface="Tahoma" pitchFamily="34" charset="0"/>
                </a:endParaRPr>
              </a:p>
            </p:txBody>
          </p:sp>
          <p:sp>
            <p:nvSpPr>
              <p:cNvPr id="31" name="Line 22"/>
              <p:cNvSpPr>
                <a:spLocks noChangeShapeType="1"/>
              </p:cNvSpPr>
              <p:nvPr/>
            </p:nvSpPr>
            <p:spPr bwMode="auto">
              <a:xfrm>
                <a:off x="1270000" y="5182208"/>
                <a:ext cx="7372351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72000" tIns="72000" rIns="72000" bIns="72000" anchor="ctr"/>
              <a:lstStyle/>
              <a:p>
                <a:pPr eaLnBrk="0" hangingPunct="0">
                  <a:spcBef>
                    <a:spcPct val="50000"/>
                  </a:spcBef>
                  <a:buClr>
                    <a:schemeClr val="accent1"/>
                  </a:buClr>
                  <a:buSzPct val="80000"/>
                  <a:buFont typeface="Wingdings" pitchFamily="2" charset="2"/>
                  <a:buNone/>
                  <a:defRPr/>
                </a:pPr>
                <a:endParaRPr lang="de-DE">
                  <a:latin typeface="+mn-lt"/>
                </a:endParaRPr>
              </a:p>
            </p:txBody>
          </p:sp>
        </p:grpSp>
      </p:grpSp>
      <p:grpSp>
        <p:nvGrpSpPr>
          <p:cNvPr id="10269" name="Gruppieren 31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611188" y="4651375"/>
            <a:ext cx="7993062" cy="549275"/>
            <a:chOff x="1270000" y="5300490"/>
            <a:chExt cx="7372351" cy="697693"/>
          </a:xfrm>
        </p:grpSpPr>
        <p:sp>
          <p:nvSpPr>
            <p:cNvPr id="2" name="Rectangle 24"/>
            <p:cNvSpPr>
              <a:spLocks noChangeArrowheads="1"/>
            </p:cNvSpPr>
            <p:nvPr/>
          </p:nvSpPr>
          <p:spPr bwMode="auto">
            <a:xfrm>
              <a:off x="1687302" y="5300490"/>
              <a:ext cx="6955049" cy="6210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defTabSz="857250" eaLnBrk="0" hangingPunct="0">
                <a:spcBef>
                  <a:spcPct val="20000"/>
                </a:spcBef>
                <a:buClr>
                  <a:schemeClr val="accent1"/>
                </a:buClr>
                <a:buSzPct val="80000"/>
                <a:buFont typeface="Wingdings" pitchFamily="2" charset="2"/>
                <a:buNone/>
              </a:pPr>
              <a:r>
                <a:rPr lang="hu-HU" sz="1600">
                  <a:latin typeface="Tahoma" pitchFamily="34" charset="0"/>
                </a:rPr>
                <a:t>Az AGTC elsősorban olyan területekre fókuszál aminek jelenleg is van gazdasági alapja </a:t>
              </a:r>
              <a:endParaRPr lang="en-US" sz="1600">
                <a:latin typeface="Tahoma" pitchFamily="34" charset="0"/>
              </a:endParaRPr>
            </a:p>
          </p:txBody>
        </p:sp>
        <p:grpSp>
          <p:nvGrpSpPr>
            <p:cNvPr id="10271" name="Gruppieren 41"/>
            <p:cNvGrpSpPr>
              <a:grpSpLocks/>
            </p:cNvGrpSpPr>
            <p:nvPr/>
          </p:nvGrpSpPr>
          <p:grpSpPr bwMode="auto">
            <a:xfrm>
              <a:off x="1270000" y="5648933"/>
              <a:ext cx="7372350" cy="349250"/>
              <a:chOff x="1270000" y="5648933"/>
              <a:chExt cx="7372350" cy="349250"/>
            </a:xfrm>
          </p:grpSpPr>
          <p:sp>
            <p:nvSpPr>
              <p:cNvPr id="3" name="Rectangle 25"/>
              <p:cNvSpPr>
                <a:spLocks noChangeArrowheads="1"/>
              </p:cNvSpPr>
              <p:nvPr/>
            </p:nvSpPr>
            <p:spPr bwMode="auto">
              <a:xfrm>
                <a:off x="1270000" y="5649337"/>
                <a:ext cx="282594" cy="348846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eaLnBrk="0" hangingPunct="0">
                  <a:spcBef>
                    <a:spcPct val="50000"/>
                  </a:spcBef>
                  <a:buClr>
                    <a:schemeClr val="accent1"/>
                  </a:buClr>
                  <a:buSzPct val="80000"/>
                  <a:buFont typeface="Wingdings" pitchFamily="2" charset="2"/>
                  <a:buNone/>
                </a:pPr>
                <a:endParaRPr lang="de-CH" sz="1600">
                  <a:latin typeface="Tahoma" pitchFamily="34" charset="0"/>
                </a:endParaRPr>
              </a:p>
            </p:txBody>
          </p:sp>
          <p:sp>
            <p:nvSpPr>
              <p:cNvPr id="4" name="Line 26"/>
              <p:cNvSpPr>
                <a:spLocks noChangeShapeType="1"/>
              </p:cNvSpPr>
              <p:nvPr/>
            </p:nvSpPr>
            <p:spPr bwMode="auto">
              <a:xfrm>
                <a:off x="1270000" y="5998183"/>
                <a:ext cx="7372351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72000" tIns="72000" rIns="72000" bIns="72000" anchor="ctr"/>
              <a:lstStyle/>
              <a:p>
                <a:pPr eaLnBrk="0" hangingPunct="0">
                  <a:spcBef>
                    <a:spcPct val="50000"/>
                  </a:spcBef>
                  <a:buClr>
                    <a:schemeClr val="accent1"/>
                  </a:buClr>
                  <a:buSzPct val="80000"/>
                  <a:buFont typeface="Wingdings" pitchFamily="2" charset="2"/>
                  <a:buNone/>
                  <a:defRPr/>
                </a:pPr>
                <a:endParaRPr lang="de-DE">
                  <a:latin typeface="+mn-lt"/>
                </a:endParaRPr>
              </a:p>
            </p:txBody>
          </p:sp>
        </p:grpSp>
      </p:grpSp>
      <p:grpSp>
        <p:nvGrpSpPr>
          <p:cNvPr id="10274" name="Gruppieren 31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611188" y="5300663"/>
            <a:ext cx="7993062" cy="549275"/>
            <a:chOff x="1270000" y="5299682"/>
            <a:chExt cx="7372351" cy="698501"/>
          </a:xfrm>
        </p:grpSpPr>
        <p:sp>
          <p:nvSpPr>
            <p:cNvPr id="5" name="Rectangle 24"/>
            <p:cNvSpPr>
              <a:spLocks noChangeArrowheads="1"/>
            </p:cNvSpPr>
            <p:nvPr/>
          </p:nvSpPr>
          <p:spPr bwMode="auto">
            <a:xfrm>
              <a:off x="1687302" y="5299682"/>
              <a:ext cx="6955049" cy="6217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defTabSz="857250" eaLnBrk="0" hangingPunct="0">
                <a:spcBef>
                  <a:spcPct val="20000"/>
                </a:spcBef>
                <a:buClr>
                  <a:schemeClr val="accent1"/>
                </a:buClr>
                <a:buSzPct val="80000"/>
                <a:buFont typeface="Wingdings" pitchFamily="2" charset="2"/>
                <a:buNone/>
              </a:pPr>
              <a:r>
                <a:rPr lang="hu-HU" sz="1600">
                  <a:latin typeface="Tahoma" pitchFamily="34" charset="0"/>
                </a:rPr>
                <a:t>Az egyedi vállalkozások fejlesztésén túl a vállalkozásfejlesztés célja az </a:t>
              </a:r>
              <a:r>
                <a:rPr lang="hu-HU" sz="1600" b="1">
                  <a:latin typeface="Tahoma" pitchFamily="34" charset="0"/>
                </a:rPr>
                <a:t>általános tudásháttér biztosítása</a:t>
              </a:r>
              <a:endParaRPr lang="en-US" sz="1600" b="1">
                <a:latin typeface="Tahoma" pitchFamily="34" charset="0"/>
              </a:endParaRPr>
            </a:p>
          </p:txBody>
        </p:sp>
        <p:grpSp>
          <p:nvGrpSpPr>
            <p:cNvPr id="10276" name="Gruppieren 41"/>
            <p:cNvGrpSpPr>
              <a:grpSpLocks/>
            </p:cNvGrpSpPr>
            <p:nvPr/>
          </p:nvGrpSpPr>
          <p:grpSpPr bwMode="auto">
            <a:xfrm>
              <a:off x="1270000" y="5648933"/>
              <a:ext cx="7372350" cy="349250"/>
              <a:chOff x="1270000" y="5648933"/>
              <a:chExt cx="7372350" cy="349250"/>
            </a:xfrm>
          </p:grpSpPr>
          <p:sp>
            <p:nvSpPr>
              <p:cNvPr id="6" name="Rectangle 25"/>
              <p:cNvSpPr>
                <a:spLocks noChangeArrowheads="1"/>
              </p:cNvSpPr>
              <p:nvPr/>
            </p:nvSpPr>
            <p:spPr bwMode="auto">
              <a:xfrm>
                <a:off x="1270000" y="5648932"/>
                <a:ext cx="282594" cy="349251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eaLnBrk="0" hangingPunct="0">
                  <a:spcBef>
                    <a:spcPct val="50000"/>
                  </a:spcBef>
                  <a:buClr>
                    <a:schemeClr val="accent1"/>
                  </a:buClr>
                  <a:buSzPct val="80000"/>
                  <a:buFont typeface="Wingdings" pitchFamily="2" charset="2"/>
                  <a:buNone/>
                </a:pPr>
                <a:endParaRPr lang="de-CH" sz="1600">
                  <a:latin typeface="Tahoma" pitchFamily="34" charset="0"/>
                </a:endParaRPr>
              </a:p>
            </p:txBody>
          </p:sp>
          <p:sp>
            <p:nvSpPr>
              <p:cNvPr id="7" name="Line 26"/>
              <p:cNvSpPr>
                <a:spLocks noChangeShapeType="1"/>
              </p:cNvSpPr>
              <p:nvPr/>
            </p:nvSpPr>
            <p:spPr bwMode="auto">
              <a:xfrm>
                <a:off x="1270000" y="5998183"/>
                <a:ext cx="7372351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72000" tIns="72000" rIns="72000" bIns="72000" anchor="ctr"/>
              <a:lstStyle/>
              <a:p>
                <a:pPr eaLnBrk="0" hangingPunct="0">
                  <a:spcBef>
                    <a:spcPct val="50000"/>
                  </a:spcBef>
                  <a:buClr>
                    <a:schemeClr val="accent1"/>
                  </a:buClr>
                  <a:buSzPct val="80000"/>
                  <a:buFont typeface="Wingdings" pitchFamily="2" charset="2"/>
                  <a:buNone/>
                  <a:defRPr/>
                </a:pPr>
                <a:endParaRPr lang="de-DE">
                  <a:latin typeface="+mn-lt"/>
                </a:endParaRPr>
              </a:p>
            </p:txBody>
          </p:sp>
        </p:grpSp>
      </p:grpSp>
      <p:grpSp>
        <p:nvGrpSpPr>
          <p:cNvPr id="10279" name="Gruppieren 3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611188" y="6092825"/>
            <a:ext cx="7993062" cy="304800"/>
            <a:chOff x="1270000" y="5610576"/>
            <a:chExt cx="7372351" cy="387607"/>
          </a:xfrm>
        </p:grpSpPr>
        <p:sp>
          <p:nvSpPr>
            <p:cNvPr id="33" name="Rectangle 24"/>
            <p:cNvSpPr>
              <a:spLocks noChangeArrowheads="1"/>
            </p:cNvSpPr>
            <p:nvPr/>
          </p:nvSpPr>
          <p:spPr bwMode="auto">
            <a:xfrm>
              <a:off x="1687302" y="5610576"/>
              <a:ext cx="6955049" cy="3108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 anchor="b">
              <a:spAutoFit/>
            </a:bodyPr>
            <a:lstStyle/>
            <a:p>
              <a:pPr defTabSz="857250" eaLnBrk="0" hangingPunct="0">
                <a:spcBef>
                  <a:spcPct val="20000"/>
                </a:spcBef>
                <a:buClr>
                  <a:schemeClr val="accent1"/>
                </a:buClr>
                <a:buSzPct val="80000"/>
                <a:buFont typeface="Wingdings" pitchFamily="2" charset="2"/>
                <a:buNone/>
              </a:pPr>
              <a:r>
                <a:rPr lang="hu-HU" sz="1600">
                  <a:latin typeface="Tahoma" pitchFamily="34" charset="0"/>
                </a:rPr>
                <a:t>A vállalkozás- (és terület-) fejlesztésnek célja a </a:t>
              </a:r>
              <a:r>
                <a:rPr lang="hu-HU" sz="1600" b="1">
                  <a:latin typeface="Tahoma" pitchFamily="34" charset="0"/>
                </a:rPr>
                <a:t>munkaerő képzése, átképzése</a:t>
              </a:r>
              <a:endParaRPr lang="en-US" sz="1600" b="1">
                <a:latin typeface="Tahoma" pitchFamily="34" charset="0"/>
              </a:endParaRPr>
            </a:p>
          </p:txBody>
        </p:sp>
        <p:grpSp>
          <p:nvGrpSpPr>
            <p:cNvPr id="10281" name="Gruppieren 41"/>
            <p:cNvGrpSpPr>
              <a:grpSpLocks/>
            </p:cNvGrpSpPr>
            <p:nvPr/>
          </p:nvGrpSpPr>
          <p:grpSpPr bwMode="auto">
            <a:xfrm>
              <a:off x="1270000" y="5648933"/>
              <a:ext cx="7372350" cy="349250"/>
              <a:chOff x="1270000" y="5648933"/>
              <a:chExt cx="7372350" cy="349250"/>
            </a:xfrm>
          </p:grpSpPr>
          <p:sp>
            <p:nvSpPr>
              <p:cNvPr id="35" name="Rectangle 25"/>
              <p:cNvSpPr>
                <a:spLocks noChangeArrowheads="1"/>
              </p:cNvSpPr>
              <p:nvPr/>
            </p:nvSpPr>
            <p:spPr bwMode="auto">
              <a:xfrm>
                <a:off x="1270000" y="5648933"/>
                <a:ext cx="282594" cy="349250"/>
              </a:xfrm>
              <a:prstGeom prst="rect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lIns="0" tIns="0" rIns="0" bIns="0" anchor="ctr"/>
              <a:lstStyle/>
              <a:p>
                <a:pPr eaLnBrk="0" hangingPunct="0">
                  <a:spcBef>
                    <a:spcPct val="50000"/>
                  </a:spcBef>
                  <a:buClr>
                    <a:schemeClr val="accent1"/>
                  </a:buClr>
                  <a:buSzPct val="80000"/>
                  <a:buFont typeface="Wingdings" pitchFamily="2" charset="2"/>
                  <a:buNone/>
                </a:pPr>
                <a:endParaRPr lang="de-CH" sz="1600">
                  <a:latin typeface="Tahoma" pitchFamily="34" charset="0"/>
                </a:endParaRPr>
              </a:p>
            </p:txBody>
          </p:sp>
          <p:sp>
            <p:nvSpPr>
              <p:cNvPr id="36" name="Line 26"/>
              <p:cNvSpPr>
                <a:spLocks noChangeShapeType="1"/>
              </p:cNvSpPr>
              <p:nvPr/>
            </p:nvSpPr>
            <p:spPr bwMode="auto">
              <a:xfrm>
                <a:off x="1270000" y="5998183"/>
                <a:ext cx="7372351" cy="0"/>
              </a:xfrm>
              <a:prstGeom prst="line">
                <a:avLst/>
              </a:prstGeom>
              <a:noFill/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lIns="72000" tIns="72000" rIns="72000" bIns="72000" anchor="ctr"/>
              <a:lstStyle/>
              <a:p>
                <a:pPr eaLnBrk="0" hangingPunct="0">
                  <a:spcBef>
                    <a:spcPct val="50000"/>
                  </a:spcBef>
                  <a:buClr>
                    <a:schemeClr val="accent1"/>
                  </a:buClr>
                  <a:buSzPct val="80000"/>
                  <a:buFont typeface="Wingdings" pitchFamily="2" charset="2"/>
                  <a:buNone/>
                  <a:defRPr/>
                </a:pPr>
                <a:endParaRPr lang="de-DE">
                  <a:latin typeface="+mn-lt"/>
                </a:endParaRP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Line 2"/>
          <p:cNvSpPr>
            <a:spLocks noChangeShapeType="1"/>
          </p:cNvSpPr>
          <p:nvPr/>
        </p:nvSpPr>
        <p:spPr bwMode="auto">
          <a:xfrm>
            <a:off x="250825" y="908050"/>
            <a:ext cx="864235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9219" name="Text Box 3"/>
          <p:cNvSpPr txBox="1">
            <a:spLocks noChangeArrowheads="1"/>
          </p:cNvSpPr>
          <p:nvPr/>
        </p:nvSpPr>
        <p:spPr bwMode="auto">
          <a:xfrm>
            <a:off x="250825" y="188913"/>
            <a:ext cx="8642350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r>
              <a:rPr lang="hu-HU" b="1">
                <a:latin typeface="Tahoma" pitchFamily="34" charset="0"/>
              </a:rPr>
              <a:t>Az AGTC </a:t>
            </a:r>
            <a:r>
              <a:rPr lang="hu-HU" b="1">
                <a:solidFill>
                  <a:srgbClr val="FF0000"/>
                </a:solidFill>
                <a:latin typeface="Tahoma" pitchFamily="34" charset="0"/>
              </a:rPr>
              <a:t>vállalkozásfejlesztési tevékenysége</a:t>
            </a:r>
            <a:r>
              <a:rPr lang="hu-HU" b="1">
                <a:latin typeface="Tahoma" pitchFamily="34" charset="0"/>
              </a:rPr>
              <a:t> </a:t>
            </a:r>
            <a:r>
              <a:rPr lang="hu-HU" b="1">
                <a:solidFill>
                  <a:srgbClr val="FF0000"/>
                </a:solidFill>
                <a:latin typeface="Tahoma" pitchFamily="34" charset="0"/>
              </a:rPr>
              <a:t>az Észak-alföldi régió fejlesztésének szerves részeként</a:t>
            </a:r>
          </a:p>
        </p:txBody>
      </p:sp>
      <p:pic>
        <p:nvPicPr>
          <p:cNvPr id="9220" name="Picture 4" descr="201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388" y="1412875"/>
            <a:ext cx="8818562" cy="456565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Line 2"/>
          <p:cNvSpPr>
            <a:spLocks noChangeShapeType="1"/>
          </p:cNvSpPr>
          <p:nvPr/>
        </p:nvSpPr>
        <p:spPr bwMode="auto">
          <a:xfrm>
            <a:off x="250825" y="1125538"/>
            <a:ext cx="864235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8195" name="Text Box 3"/>
          <p:cNvSpPr txBox="1">
            <a:spLocks noChangeArrowheads="1"/>
          </p:cNvSpPr>
          <p:nvPr/>
        </p:nvSpPr>
        <p:spPr bwMode="auto">
          <a:xfrm>
            <a:off x="250825" y="188913"/>
            <a:ext cx="8642350" cy="915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r>
              <a:rPr lang="hu-HU" b="1">
                <a:solidFill>
                  <a:srgbClr val="FF0000"/>
                </a:solidFill>
                <a:latin typeface="Tahoma" pitchFamily="34" charset="0"/>
              </a:rPr>
              <a:t>A helyi gazdaságfejlesztés 4 területet érinthet</a:t>
            </a:r>
            <a:r>
              <a:rPr lang="hu-HU" b="1">
                <a:latin typeface="Tahoma" pitchFamily="34" charset="0"/>
              </a:rPr>
              <a:t>. Az AGTC elsősorban a vállalkozásfejlesztés és a humánerőforrás-fejlesztés területén tud eredményt elérni</a:t>
            </a:r>
          </a:p>
        </p:txBody>
      </p:sp>
      <p:pic>
        <p:nvPicPr>
          <p:cNvPr id="8204" name="Picture 12" descr="201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47813" y="1628775"/>
            <a:ext cx="5997575" cy="4291013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Line 2"/>
          <p:cNvSpPr>
            <a:spLocks noChangeShapeType="1"/>
          </p:cNvSpPr>
          <p:nvPr/>
        </p:nvSpPr>
        <p:spPr bwMode="auto">
          <a:xfrm>
            <a:off x="250825" y="908050"/>
            <a:ext cx="8642350" cy="0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endParaRPr lang="hu-HU"/>
          </a:p>
        </p:txBody>
      </p:sp>
      <p:sp>
        <p:nvSpPr>
          <p:cNvPr id="7171" name="Text Box 3"/>
          <p:cNvSpPr txBox="1">
            <a:spLocks noChangeArrowheads="1"/>
          </p:cNvSpPr>
          <p:nvPr/>
        </p:nvSpPr>
        <p:spPr bwMode="auto">
          <a:xfrm>
            <a:off x="250825" y="188913"/>
            <a:ext cx="8642350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r>
              <a:rPr lang="hu-HU" b="1">
                <a:latin typeface="Tahoma" pitchFamily="34" charset="0"/>
              </a:rPr>
              <a:t>A területfejlesztés modelljei a kialakítandó </a:t>
            </a:r>
            <a:r>
              <a:rPr lang="hu-HU" b="1">
                <a:solidFill>
                  <a:srgbClr val="FF0000"/>
                </a:solidFill>
                <a:latin typeface="Tahoma" pitchFamily="34" charset="0"/>
              </a:rPr>
              <a:t>vállalkozásfejlesztése modell keretei</a:t>
            </a:r>
            <a:r>
              <a:rPr lang="hu-HU" b="1">
                <a:latin typeface="Tahoma" pitchFamily="34" charset="0"/>
              </a:rPr>
              <a:t>t jelölik ki</a:t>
            </a:r>
          </a:p>
        </p:txBody>
      </p:sp>
      <p:pic>
        <p:nvPicPr>
          <p:cNvPr id="7172" name="Picture 4" descr="2010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9388" y="1412875"/>
            <a:ext cx="8816975" cy="4379913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T.hQ8NnE2g3ASHbNIeA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iZFpQoTkims0HcRihU.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TjWbbs40iRfcWh.Jsp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jCprbnE0yvB_cBGa6SZ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EeU83Q1aUifiH9lPHvAg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0I.5Wq5EimcBC55rO2V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0I.5Wq5EimcBC55rO2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0I.5Wq5EimcBC55rO2V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xLJrjsEUSyypsa24MfJg"/>
</p:tagLst>
</file>

<file path=ppt/theme/theme1.xml><?xml version="1.0" encoding="utf-8"?>
<a:theme xmlns:a="http://schemas.openxmlformats.org/drawingml/2006/main" name="Alapértelmezett terv">
  <a:themeElements>
    <a:clrScheme name="Alapértelmezett terv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Alapértelmezett terv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lapértelmezett terv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lapértelmezett terv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lapértelmezett terv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64</TotalTime>
  <Words>419</Words>
  <Application>Microsoft Office PowerPoint</Application>
  <PresentationFormat>Diavetítés a képernyőre (4:3 oldalarány)</PresentationFormat>
  <Paragraphs>59</Paragraphs>
  <Slides>20</Slides>
  <Notes>0</Notes>
  <HiddenSlides>0</HiddenSlides>
  <MMClips>0</MMClips>
  <ScaleCrop>false</ScaleCrop>
  <HeadingPairs>
    <vt:vector size="6" baseType="variant">
      <vt:variant>
        <vt:lpstr>Használt betűtípusok</vt:lpstr>
      </vt:variant>
      <vt:variant>
        <vt:i4>3</vt:i4>
      </vt:variant>
      <vt:variant>
        <vt:lpstr>Téma</vt:lpstr>
      </vt:variant>
      <vt:variant>
        <vt:i4>1</vt:i4>
      </vt:variant>
      <vt:variant>
        <vt:lpstr>Diacímek</vt:lpstr>
      </vt:variant>
      <vt:variant>
        <vt:i4>20</vt:i4>
      </vt:variant>
    </vt:vector>
  </HeadingPairs>
  <TitlesOfParts>
    <vt:vector size="24" baseType="lpstr">
      <vt:lpstr>Arial</vt:lpstr>
      <vt:lpstr>Tahoma</vt:lpstr>
      <vt:lpstr>Wingdings</vt:lpstr>
      <vt:lpstr>Alapértelmezett terv</vt:lpstr>
      <vt:lpstr>1. dia</vt:lpstr>
      <vt:lpstr>2. dia</vt:lpstr>
      <vt:lpstr>3. dia</vt:lpstr>
      <vt:lpstr>4. dia</vt:lpstr>
      <vt:lpstr>5. dia</vt:lpstr>
      <vt:lpstr>6. dia</vt:lpstr>
      <vt:lpstr>7. dia</vt:lpstr>
      <vt:lpstr>8. dia</vt:lpstr>
      <vt:lpstr>9. dia</vt:lpstr>
      <vt:lpstr>10. dia</vt:lpstr>
      <vt:lpstr>11. dia</vt:lpstr>
      <vt:lpstr>12. dia</vt:lpstr>
      <vt:lpstr>13. dia</vt:lpstr>
      <vt:lpstr>14. dia</vt:lpstr>
      <vt:lpstr>15. dia</vt:lpstr>
      <vt:lpstr>16. dia</vt:lpstr>
      <vt:lpstr>17. dia</vt:lpstr>
      <vt:lpstr>18. dia</vt:lpstr>
      <vt:lpstr>19. dia</vt:lpstr>
      <vt:lpstr>20. dia</vt:lpstr>
    </vt:vector>
  </TitlesOfParts>
  <Company>DE AMTC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. dia</dc:title>
  <dc:creator>Dr. Vincze Szilvia</dc:creator>
  <cp:lastModifiedBy>Endre</cp:lastModifiedBy>
  <cp:revision>2</cp:revision>
  <dcterms:created xsi:type="dcterms:W3CDTF">2010-11-18T08:37:33Z</dcterms:created>
  <dcterms:modified xsi:type="dcterms:W3CDTF">2010-11-18T09:52:59Z</dcterms:modified>
</cp:coreProperties>
</file>